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58" r:id="rId4"/>
    <p:sldId id="2145705951" r:id="rId5"/>
    <p:sldId id="2145705952" r:id="rId6"/>
    <p:sldId id="259" r:id="rId7"/>
    <p:sldId id="309" r:id="rId8"/>
    <p:sldId id="310" r:id="rId9"/>
    <p:sldId id="311" r:id="rId10"/>
    <p:sldId id="312" r:id="rId11"/>
    <p:sldId id="313" r:id="rId12"/>
    <p:sldId id="314" r:id="rId13"/>
    <p:sldId id="315" r:id="rId14"/>
    <p:sldId id="316" r:id="rId15"/>
    <p:sldId id="317" r:id="rId16"/>
    <p:sldId id="318" r:id="rId17"/>
    <p:sldId id="319" r:id="rId18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80" autoAdjust="0"/>
    <p:restoredTop sz="95373" autoAdjust="0"/>
  </p:normalViewPr>
  <p:slideViewPr>
    <p:cSldViewPr snapToGrid="0">
      <p:cViewPr varScale="1">
        <p:scale>
          <a:sx n="83" d="100"/>
          <a:sy n="83" d="100"/>
        </p:scale>
        <p:origin x="396" y="7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70fc456c4b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9" name="Google Shape;219;g370fc456c4b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bu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dirty="0"/>
          </a:p>
        </p:txBody>
      </p:sp>
      <p:sp>
        <p:nvSpPr>
          <p:cNvPr id="220" name="Google Shape;220;g370fc456c4b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6.jp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6.jp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/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/>
          </a:p>
          <a:p>
            <a:pPr marL="342900" indent="-342900">
              <a:spcBef>
                <a:spcPts val="0"/>
              </a:spcBef>
            </a:pPr>
            <a:r>
              <a:rPr lang="en-US" noProof="1"/>
              <a:t>Functionality and UI in the Trello System</a:t>
            </a:r>
          </a:p>
          <a:p>
            <a:pPr marL="342900" indent="-342900"/>
            <a:r>
              <a:rPr lang="en-US" noProof="1"/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g370fc456c4b_0_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/>
              <a:t>BOARDS TAB IN TRELLO SYSTEM</a:t>
            </a:r>
          </a:p>
        </p:txBody>
      </p:sp>
      <p:sp>
        <p:nvSpPr>
          <p:cNvPr id="223" name="Google Shape;223;g370fc456c4b_0_4"/>
          <p:cNvSpPr txBox="1">
            <a:spLocks noGrp="1"/>
          </p:cNvSpPr>
          <p:nvPr>
            <p:ph type="body" idx="1"/>
          </p:nvPr>
        </p:nvSpPr>
        <p:spPr>
          <a:xfrm>
            <a:off x="2496900" y="1273625"/>
            <a:ext cx="7023900" cy="515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 lang="en-US" noProof="1"/>
          </a:p>
        </p:txBody>
      </p:sp>
      <p:pic>
        <p:nvPicPr>
          <p:cNvPr id="224" name="Google Shape;224;g370fc456c4b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496825" y="1273625"/>
            <a:ext cx="7024061" cy="5154300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g370fc456c4b_0_4"/>
          <p:cNvSpPr txBox="1"/>
          <p:nvPr/>
        </p:nvSpPr>
        <p:spPr>
          <a:xfrm>
            <a:off x="6719025" y="1309625"/>
            <a:ext cx="810300" cy="4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F5AD33"/>
                </a:solidFill>
              </a:rPr>
              <a:t>Board</a:t>
            </a:r>
            <a:endParaRPr lang="en-US" sz="1800" noProof="1">
              <a:solidFill>
                <a:schemeClr val="dk1"/>
              </a:solidFill>
            </a:endParaRPr>
          </a:p>
        </p:txBody>
      </p:sp>
      <p:sp>
        <p:nvSpPr>
          <p:cNvPr id="226" name="Google Shape;226;g370fc456c4b_0_4"/>
          <p:cNvSpPr txBox="1"/>
          <p:nvPr/>
        </p:nvSpPr>
        <p:spPr>
          <a:xfrm>
            <a:off x="2640850" y="4390375"/>
            <a:ext cx="1327800" cy="4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F5AD33"/>
                </a:solidFill>
              </a:rPr>
              <a:t>Workspace</a:t>
            </a:r>
            <a:endParaRPr lang="en-US" sz="1800" noProof="1">
              <a:solidFill>
                <a:schemeClr val="dk1"/>
              </a:solidFill>
            </a:endParaRPr>
          </a:p>
        </p:txBody>
      </p:sp>
      <p:sp>
        <p:nvSpPr>
          <p:cNvPr id="227" name="Google Shape;227;g370fc456c4b_0_4"/>
          <p:cNvSpPr/>
          <p:nvPr/>
        </p:nvSpPr>
        <p:spPr>
          <a:xfrm>
            <a:off x="4256700" y="1528775"/>
            <a:ext cx="1434000" cy="743400"/>
          </a:xfrm>
          <a:prstGeom prst="rect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28" name="Google Shape;228;g370fc456c4b_0_4"/>
          <p:cNvCxnSpPr>
            <a:stCxn id="225" idx="1"/>
          </p:cNvCxnSpPr>
          <p:nvPr/>
        </p:nvCxnSpPr>
        <p:spPr>
          <a:xfrm flipH="1">
            <a:off x="5654925" y="1528775"/>
            <a:ext cx="1064100" cy="106200"/>
          </a:xfrm>
          <a:prstGeom prst="straightConnector1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29" name="Google Shape;229;g370fc456c4b_0_4"/>
          <p:cNvSpPr/>
          <p:nvPr/>
        </p:nvSpPr>
        <p:spPr>
          <a:xfrm>
            <a:off x="4220925" y="2801900"/>
            <a:ext cx="1434000" cy="743400"/>
          </a:xfrm>
          <a:prstGeom prst="rect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0" name="Google Shape;230;g370fc456c4b_0_4"/>
          <p:cNvCxnSpPr/>
          <p:nvPr/>
        </p:nvCxnSpPr>
        <p:spPr>
          <a:xfrm flipH="1">
            <a:off x="5665425" y="1681175"/>
            <a:ext cx="1206000" cy="1156500"/>
          </a:xfrm>
          <a:prstGeom prst="straightConnector1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1" name="Google Shape;231;g370fc456c4b_0_4"/>
          <p:cNvCxnSpPr>
            <a:endCxn id="226" idx="2"/>
          </p:cNvCxnSpPr>
          <p:nvPr/>
        </p:nvCxnSpPr>
        <p:spPr>
          <a:xfrm rot="10800000">
            <a:off x="3304750" y="4828675"/>
            <a:ext cx="962100" cy="291600"/>
          </a:xfrm>
          <a:prstGeom prst="straightConnector1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32" name="Google Shape;232;g370fc456c4b_0_4"/>
          <p:cNvSpPr/>
          <p:nvPr/>
        </p:nvSpPr>
        <p:spPr>
          <a:xfrm>
            <a:off x="4220925" y="5108275"/>
            <a:ext cx="1434000" cy="565500"/>
          </a:xfrm>
          <a:prstGeom prst="rect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233" name="Google Shape;233;g370fc456c4b_0_4"/>
          <p:cNvSpPr/>
          <p:nvPr/>
        </p:nvSpPr>
        <p:spPr>
          <a:xfrm>
            <a:off x="2570475" y="2890850"/>
            <a:ext cx="1532100" cy="241800"/>
          </a:xfrm>
          <a:prstGeom prst="rect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4" name="Google Shape;234;g370fc456c4b_0_4"/>
          <p:cNvCxnSpPr>
            <a:stCxn id="226" idx="0"/>
            <a:endCxn id="233" idx="2"/>
          </p:cNvCxnSpPr>
          <p:nvPr/>
        </p:nvCxnSpPr>
        <p:spPr>
          <a:xfrm rot="10800000" flipH="1">
            <a:off x="3304750" y="3132775"/>
            <a:ext cx="31800" cy="1257600"/>
          </a:xfrm>
          <a:prstGeom prst="straightConnector1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52</TotalTime>
  <Words>1040</Words>
  <Application>Microsoft Office PowerPoint</Application>
  <PresentationFormat>Widescreen</PresentationFormat>
  <Paragraphs>163</Paragraphs>
  <Slides>17</Slides>
  <Notes>15</Notes>
  <HiddenSlides>9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4</cp:revision>
  <dcterms:created xsi:type="dcterms:W3CDTF">2025-07-10T03:51:23Z</dcterms:created>
  <dcterms:modified xsi:type="dcterms:W3CDTF">2025-08-06T17:05:13Z</dcterms:modified>
</cp:coreProperties>
</file>